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4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</p:sldIdLst>
  <p:sldSz cx="18288000" cy="10287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Raleway" pitchFamily="2" charset="0"/>
      <p:regular r:id="rId19"/>
      <p:bold r:id="rId20"/>
      <p:italic r:id="rId21"/>
      <p:boldItalic r:id="rId22"/>
    </p:embeddedFont>
    <p:embeddedFont>
      <p:font typeface="Roboto Light" panose="02000000000000000000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29"/>
    <p:restoredTop sz="94789"/>
  </p:normalViewPr>
  <p:slideViewPr>
    <p:cSldViewPr snapToGrid="0">
      <p:cViewPr varScale="1">
        <p:scale>
          <a:sx n="52" d="100"/>
          <a:sy n="52" d="100"/>
        </p:scale>
        <p:origin x="965" y="67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Summary of findings.</a:t>
            </a:r>
          </a:p>
          <a:p>
            <a:pPr>
              <a:defRPr sz="2000">
                <a:latin typeface="Calibri"/>
              </a:defRPr>
            </a:pPr>
            <a:r>
              <a:t>Future research direc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Conclus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Feel free to ask any ques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Q&amp;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2000">
                <a:latin typeface="Calibri"/>
              </a:defRPr>
            </a:pPr>
            <a:r>
              <a:t>Example Prompts:</a:t>
            </a:r>
          </a:p>
          <a:p>
            <a:pPr>
              <a:defRPr sz="2000">
                <a:latin typeface="Calibri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2000">
                <a:latin typeface="Calibri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2000">
                <a:latin typeface="Calibri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FFFFFF"/>
                </a:solidFill>
                <a:latin typeface="Calibri"/>
              </a:defRPr>
            </a:pPr>
            <a:r>
              <a:t>Evaluating ChatGPT as a Recommendation System: A Comprehensive Stud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rPr dirty="0"/>
              <a:t>Presented by: First Author</a:t>
            </a:r>
          </a:p>
          <a:p>
            <a:pPr>
              <a:defRPr sz="2000">
                <a:latin typeface="Calibri"/>
              </a:defRPr>
            </a:pPr>
            <a:r>
              <a:rPr dirty="0"/>
              <a:t>Contact: peyman.75.naseri@gmail.com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Exploration of ChatGPT's potential in recommendation systems.</a:t>
            </a:r>
          </a:p>
          <a:p>
            <a:pPr>
              <a:defRPr sz="2000">
                <a:latin typeface="Calibri"/>
              </a:defRPr>
            </a:pPr>
            <a:r>
              <a:t>Significance in NLP and digital user experience enhancemen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Introduc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Need for flexible, generalized recommendation systems.</a:t>
            </a:r>
          </a:p>
          <a:p>
            <a:pPr>
              <a:defRPr sz="2000">
                <a:latin typeface="Calibri"/>
              </a:defRPr>
            </a:pPr>
            <a:r>
              <a:t>ChatGPT's role in addressing evolving user demand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Problem Statem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Goals vs. accomplishments.</a:t>
            </a:r>
          </a:p>
          <a:p>
            <a:pPr>
              <a:defRPr sz="2000">
                <a:latin typeface="Calibri"/>
              </a:defRPr>
            </a:pPr>
            <a:r>
              <a:t>Adjustments made due to constraint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Objectives and Achievem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Foundation models: BERT, GPT.</a:t>
            </a:r>
          </a:p>
          <a:p>
            <a:pPr>
              <a:defRPr sz="2000">
                <a:latin typeface="Calibri"/>
              </a:defRPr>
            </a:pPr>
            <a:r>
              <a:t>Divergence and contributions of this projec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Related Work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Amazon Beauty dataset.</a:t>
            </a:r>
          </a:p>
          <a:p>
            <a:pPr>
              <a:defRPr sz="2000">
                <a:latin typeface="Calibri"/>
              </a:defRPr>
            </a:pPr>
            <a:r>
              <a:t>Relevance and challeng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Dataset Overview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Using ChatGPT and LLAMA for recommendations.</a:t>
            </a:r>
          </a:p>
          <a:p>
            <a:pPr>
              <a:defRPr sz="2000">
                <a:latin typeface="Calibri"/>
              </a:defRPr>
            </a:pPr>
            <a:r>
              <a:t>Challenges: computational costs, hardware limitation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Methodolog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2000">
                <a:latin typeface="Calibri"/>
              </a:defRPr>
            </a:pPr>
            <a:r>
              <a:t>Comparison with traditional methods.</a:t>
            </a:r>
          </a:p>
          <a:p>
            <a:pPr>
              <a:defRPr sz="2000">
                <a:latin typeface="Calibri"/>
              </a:defRPr>
            </a:pPr>
            <a:r>
              <a:t>Insights from ChatGPT's performanc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3000">
                <a:solidFill>
                  <a:srgbClr val="123456"/>
                </a:solidFill>
                <a:latin typeface="Calibri"/>
              </a:defRPr>
            </a:pPr>
            <a:r>
              <a:t>Results and Analysi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123456"/>
          </a:solidFill>
        </p:spPr>
        <p:txBody>
          <a:bodyPr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2</TotalTime>
  <Words>280</Words>
  <Application>Microsoft Office PowerPoint</Application>
  <PresentationFormat>Custom</PresentationFormat>
  <Paragraphs>38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  <vt:lpstr>Evaluating ChatGPT as a Recommendation System: A Comprehensive Study</vt:lpstr>
      <vt:lpstr>Introduction</vt:lpstr>
      <vt:lpstr>Problem Statement</vt:lpstr>
      <vt:lpstr>Objectives and Achievements</vt:lpstr>
      <vt:lpstr>Related Work</vt:lpstr>
      <vt:lpstr>Dataset Overview</vt:lpstr>
      <vt:lpstr>Methodology</vt:lpstr>
      <vt:lpstr>Results and Analysis</vt:lpstr>
      <vt:lpstr>Conclusion</vt:lpstr>
      <vt:lpstr>Q&amp;A</vt:lpstr>
      <vt:lpstr>Thanks for using 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Peyman Naseri</dc:creator>
  <cp:lastModifiedBy>Peyman Naseri</cp:lastModifiedBy>
  <cp:revision>63</cp:revision>
  <dcterms:modified xsi:type="dcterms:W3CDTF">2024-02-02T12:20:15Z</dcterms:modified>
</cp:coreProperties>
</file>